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3"/>
  </p:notesMasterIdLst>
  <p:sldIdLst>
    <p:sldId id="261" r:id="rId2"/>
  </p:sldIdLst>
  <p:sldSz cx="30275213" cy="428037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13" userDrawn="1">
          <p15:clr>
            <a:srgbClr val="A4A3A4"/>
          </p15:clr>
        </p15:guide>
        <p15:guide id="2" pos="95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8E91"/>
    <a:srgbClr val="FF7614"/>
    <a:srgbClr val="FF9300"/>
    <a:srgbClr val="EBB512"/>
    <a:srgbClr val="9437FF"/>
    <a:srgbClr val="667F3F"/>
    <a:srgbClr val="1328A5"/>
    <a:srgbClr val="374A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9B48BD-5787-49C4-88DD-2DCD1DBE4236}" v="66" dt="2026-05-12T20:14:14.4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77" autoAdjust="0"/>
    <p:restoredTop sz="96301"/>
  </p:normalViewPr>
  <p:slideViewPr>
    <p:cSldViewPr snapToGrid="0">
      <p:cViewPr>
        <p:scale>
          <a:sx n="40" d="100"/>
          <a:sy n="40" d="100"/>
        </p:scale>
        <p:origin x="1608" y="144"/>
      </p:cViewPr>
      <p:guideLst>
        <p:guide orient="horz" pos="13413"/>
        <p:guide pos="9535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931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5010" y="0"/>
            <a:ext cx="2971800" cy="45931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94BD69-5B64-416F-9091-7EB6B7592750}" type="datetimeFigureOut">
              <a:rPr lang="bg-BG" smtClean="0"/>
              <a:t>13.05.26 г.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bg-B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2"/>
            <a:ext cx="5486400" cy="360044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4685"/>
            <a:ext cx="2971800" cy="459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5010" y="8684685"/>
            <a:ext cx="2971800" cy="459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5AE0D4-0D85-481D-B552-1977559A11CC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650465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D77FF6-7716-45F9-755C-A6925E81A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578E55-98B2-ACD1-6F03-8E44421AEF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38388" y="1143000"/>
            <a:ext cx="2181225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73C278-49F0-0A9D-2BF4-3400B27890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670CD6-2BC0-7C60-D0EF-629AF1C91D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5AE0D4-0D85-481D-B552-1977559A11CC}" type="slidenum">
              <a:rPr lang="bg-BG" smtClean="0"/>
              <a:t>1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558065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70641" y="7005156"/>
            <a:ext cx="25733931" cy="14902051"/>
          </a:xfrm>
        </p:spPr>
        <p:txBody>
          <a:bodyPr anchor="b"/>
          <a:lstStyle>
            <a:lvl1pPr algn="ctr">
              <a:defRPr sz="1986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402" y="22481887"/>
            <a:ext cx="22706410" cy="10334331"/>
          </a:xfrm>
        </p:spPr>
        <p:txBody>
          <a:bodyPr/>
          <a:lstStyle>
            <a:lvl1pPr marL="0" indent="0" algn="ctr">
              <a:buNone/>
              <a:defRPr sz="7946"/>
            </a:lvl1pPr>
            <a:lvl2pPr marL="1513743" indent="0" algn="ctr">
              <a:buNone/>
              <a:defRPr sz="6622"/>
            </a:lvl2pPr>
            <a:lvl3pPr marL="3027487" indent="0" algn="ctr">
              <a:buNone/>
              <a:defRPr sz="5960"/>
            </a:lvl3pPr>
            <a:lvl4pPr marL="4541230" indent="0" algn="ctr">
              <a:buNone/>
              <a:defRPr sz="5297"/>
            </a:lvl4pPr>
            <a:lvl5pPr marL="6054974" indent="0" algn="ctr">
              <a:buNone/>
              <a:defRPr sz="5297"/>
            </a:lvl5pPr>
            <a:lvl6pPr marL="7568717" indent="0" algn="ctr">
              <a:buNone/>
              <a:defRPr sz="5297"/>
            </a:lvl6pPr>
            <a:lvl7pPr marL="9082461" indent="0" algn="ctr">
              <a:buNone/>
              <a:defRPr sz="5297"/>
            </a:lvl7pPr>
            <a:lvl8pPr marL="10596204" indent="0" algn="ctr">
              <a:buNone/>
              <a:defRPr sz="5297"/>
            </a:lvl8pPr>
            <a:lvl9pPr marL="12109948" indent="0" algn="ctr">
              <a:buNone/>
              <a:defRPr sz="5297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014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82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665701" y="2278904"/>
            <a:ext cx="6528093" cy="362742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81423" y="2278904"/>
            <a:ext cx="19205838" cy="3627421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403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0943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350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5654" y="10671229"/>
            <a:ext cx="26112371" cy="17805173"/>
          </a:xfrm>
        </p:spPr>
        <p:txBody>
          <a:bodyPr anchor="b"/>
          <a:lstStyle>
            <a:lvl1pPr>
              <a:defRPr sz="1986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65654" y="28644846"/>
            <a:ext cx="26112371" cy="9363320"/>
          </a:xfrm>
        </p:spPr>
        <p:txBody>
          <a:bodyPr/>
          <a:lstStyle>
            <a:lvl1pPr marL="0" indent="0">
              <a:buNone/>
              <a:defRPr sz="7946">
                <a:solidFill>
                  <a:schemeClr val="tx1">
                    <a:tint val="82000"/>
                  </a:schemeClr>
                </a:solidFill>
              </a:defRPr>
            </a:lvl1pPr>
            <a:lvl2pPr marL="1513743" indent="0">
              <a:buNone/>
              <a:defRPr sz="6622">
                <a:solidFill>
                  <a:schemeClr val="tx1">
                    <a:tint val="82000"/>
                  </a:schemeClr>
                </a:solidFill>
              </a:defRPr>
            </a:lvl2pPr>
            <a:lvl3pPr marL="3027487" indent="0">
              <a:buNone/>
              <a:defRPr sz="5960">
                <a:solidFill>
                  <a:schemeClr val="tx1">
                    <a:tint val="82000"/>
                  </a:schemeClr>
                </a:solidFill>
              </a:defRPr>
            </a:lvl3pPr>
            <a:lvl4pPr marL="4541230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4pPr>
            <a:lvl5pPr marL="6054974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5pPr>
            <a:lvl6pPr marL="7568717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6pPr>
            <a:lvl7pPr marL="9082461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7pPr>
            <a:lvl8pPr marL="10596204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8pPr>
            <a:lvl9pPr marL="12109948" indent="0">
              <a:buNone/>
              <a:defRPr sz="5297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128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81421" y="11394520"/>
            <a:ext cx="12866966" cy="271585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326826" y="11394520"/>
            <a:ext cx="12866966" cy="271585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410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278913"/>
            <a:ext cx="26112371" cy="82734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5368" y="10492870"/>
            <a:ext cx="12807832" cy="5142393"/>
          </a:xfrm>
        </p:spPr>
        <p:txBody>
          <a:bodyPr anchor="b"/>
          <a:lstStyle>
            <a:lvl1pPr marL="0" indent="0">
              <a:buNone/>
              <a:defRPr sz="7946" b="1"/>
            </a:lvl1pPr>
            <a:lvl2pPr marL="1513743" indent="0">
              <a:buNone/>
              <a:defRPr sz="6622" b="1"/>
            </a:lvl2pPr>
            <a:lvl3pPr marL="3027487" indent="0">
              <a:buNone/>
              <a:defRPr sz="5960" b="1"/>
            </a:lvl3pPr>
            <a:lvl4pPr marL="4541230" indent="0">
              <a:buNone/>
              <a:defRPr sz="5297" b="1"/>
            </a:lvl4pPr>
            <a:lvl5pPr marL="6054974" indent="0">
              <a:buNone/>
              <a:defRPr sz="5297" b="1"/>
            </a:lvl5pPr>
            <a:lvl6pPr marL="7568717" indent="0">
              <a:buNone/>
              <a:defRPr sz="5297" b="1"/>
            </a:lvl6pPr>
            <a:lvl7pPr marL="9082461" indent="0">
              <a:buNone/>
              <a:defRPr sz="5297" b="1"/>
            </a:lvl7pPr>
            <a:lvl8pPr marL="10596204" indent="0">
              <a:buNone/>
              <a:defRPr sz="5297" b="1"/>
            </a:lvl8pPr>
            <a:lvl9pPr marL="12109948" indent="0">
              <a:buNone/>
              <a:defRPr sz="52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85368" y="15635264"/>
            <a:ext cx="12807832" cy="229971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326828" y="10492870"/>
            <a:ext cx="12870909" cy="5142393"/>
          </a:xfrm>
        </p:spPr>
        <p:txBody>
          <a:bodyPr anchor="b"/>
          <a:lstStyle>
            <a:lvl1pPr marL="0" indent="0">
              <a:buNone/>
              <a:defRPr sz="7946" b="1"/>
            </a:lvl1pPr>
            <a:lvl2pPr marL="1513743" indent="0">
              <a:buNone/>
              <a:defRPr sz="6622" b="1"/>
            </a:lvl2pPr>
            <a:lvl3pPr marL="3027487" indent="0">
              <a:buNone/>
              <a:defRPr sz="5960" b="1"/>
            </a:lvl3pPr>
            <a:lvl4pPr marL="4541230" indent="0">
              <a:buNone/>
              <a:defRPr sz="5297" b="1"/>
            </a:lvl4pPr>
            <a:lvl5pPr marL="6054974" indent="0">
              <a:buNone/>
              <a:defRPr sz="5297" b="1"/>
            </a:lvl5pPr>
            <a:lvl6pPr marL="7568717" indent="0">
              <a:buNone/>
              <a:defRPr sz="5297" b="1"/>
            </a:lvl6pPr>
            <a:lvl7pPr marL="9082461" indent="0">
              <a:buNone/>
              <a:defRPr sz="5297" b="1"/>
            </a:lvl7pPr>
            <a:lvl8pPr marL="10596204" indent="0">
              <a:buNone/>
              <a:defRPr sz="5297" b="1"/>
            </a:lvl8pPr>
            <a:lvl9pPr marL="12109948" indent="0">
              <a:buNone/>
              <a:defRPr sz="52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326828" y="15635264"/>
            <a:ext cx="12870909" cy="229971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446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9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472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853584"/>
            <a:ext cx="9764544" cy="9987545"/>
          </a:xfrm>
        </p:spPr>
        <p:txBody>
          <a:bodyPr anchor="b"/>
          <a:lstStyle>
            <a:lvl1pPr>
              <a:defRPr sz="105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909" y="6162959"/>
            <a:ext cx="15326827" cy="30418415"/>
          </a:xfrm>
        </p:spPr>
        <p:txBody>
          <a:bodyPr/>
          <a:lstStyle>
            <a:lvl1pPr>
              <a:defRPr sz="10595"/>
            </a:lvl1pPr>
            <a:lvl2pPr>
              <a:defRPr sz="9271"/>
            </a:lvl2pPr>
            <a:lvl3pPr>
              <a:defRPr sz="7946"/>
            </a:lvl3pPr>
            <a:lvl4pPr>
              <a:defRPr sz="6622"/>
            </a:lvl4pPr>
            <a:lvl5pPr>
              <a:defRPr sz="6622"/>
            </a:lvl5pPr>
            <a:lvl6pPr>
              <a:defRPr sz="6622"/>
            </a:lvl6pPr>
            <a:lvl7pPr>
              <a:defRPr sz="6622"/>
            </a:lvl7pPr>
            <a:lvl8pPr>
              <a:defRPr sz="6622"/>
            </a:lvl8pPr>
            <a:lvl9pPr>
              <a:defRPr sz="66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12841129"/>
            <a:ext cx="9764544" cy="23789780"/>
          </a:xfrm>
        </p:spPr>
        <p:txBody>
          <a:bodyPr/>
          <a:lstStyle>
            <a:lvl1pPr marL="0" indent="0">
              <a:buNone/>
              <a:defRPr sz="5297"/>
            </a:lvl1pPr>
            <a:lvl2pPr marL="1513743" indent="0">
              <a:buNone/>
              <a:defRPr sz="4635"/>
            </a:lvl2pPr>
            <a:lvl3pPr marL="3027487" indent="0">
              <a:buNone/>
              <a:defRPr sz="3973"/>
            </a:lvl3pPr>
            <a:lvl4pPr marL="4541230" indent="0">
              <a:buNone/>
              <a:defRPr sz="3311"/>
            </a:lvl4pPr>
            <a:lvl5pPr marL="6054974" indent="0">
              <a:buNone/>
              <a:defRPr sz="3311"/>
            </a:lvl5pPr>
            <a:lvl6pPr marL="7568717" indent="0">
              <a:buNone/>
              <a:defRPr sz="3311"/>
            </a:lvl6pPr>
            <a:lvl7pPr marL="9082461" indent="0">
              <a:buNone/>
              <a:defRPr sz="3311"/>
            </a:lvl7pPr>
            <a:lvl8pPr marL="10596204" indent="0">
              <a:buNone/>
              <a:defRPr sz="3311"/>
            </a:lvl8pPr>
            <a:lvl9pPr marL="12109948" indent="0">
              <a:buNone/>
              <a:defRPr sz="33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016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853584"/>
            <a:ext cx="9764544" cy="9987545"/>
          </a:xfrm>
        </p:spPr>
        <p:txBody>
          <a:bodyPr anchor="b"/>
          <a:lstStyle>
            <a:lvl1pPr>
              <a:defRPr sz="105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70909" y="6162959"/>
            <a:ext cx="15326827" cy="30418415"/>
          </a:xfrm>
        </p:spPr>
        <p:txBody>
          <a:bodyPr anchor="t"/>
          <a:lstStyle>
            <a:lvl1pPr marL="0" indent="0">
              <a:buNone/>
              <a:defRPr sz="10595"/>
            </a:lvl1pPr>
            <a:lvl2pPr marL="1513743" indent="0">
              <a:buNone/>
              <a:defRPr sz="9271"/>
            </a:lvl2pPr>
            <a:lvl3pPr marL="3027487" indent="0">
              <a:buNone/>
              <a:defRPr sz="7946"/>
            </a:lvl3pPr>
            <a:lvl4pPr marL="4541230" indent="0">
              <a:buNone/>
              <a:defRPr sz="6622"/>
            </a:lvl4pPr>
            <a:lvl5pPr marL="6054974" indent="0">
              <a:buNone/>
              <a:defRPr sz="6622"/>
            </a:lvl5pPr>
            <a:lvl6pPr marL="7568717" indent="0">
              <a:buNone/>
              <a:defRPr sz="6622"/>
            </a:lvl6pPr>
            <a:lvl7pPr marL="9082461" indent="0">
              <a:buNone/>
              <a:defRPr sz="6622"/>
            </a:lvl7pPr>
            <a:lvl8pPr marL="10596204" indent="0">
              <a:buNone/>
              <a:defRPr sz="6622"/>
            </a:lvl8pPr>
            <a:lvl9pPr marL="12109948" indent="0">
              <a:buNone/>
              <a:defRPr sz="6622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12841129"/>
            <a:ext cx="9764544" cy="23789780"/>
          </a:xfrm>
        </p:spPr>
        <p:txBody>
          <a:bodyPr/>
          <a:lstStyle>
            <a:lvl1pPr marL="0" indent="0">
              <a:buNone/>
              <a:defRPr sz="5297"/>
            </a:lvl1pPr>
            <a:lvl2pPr marL="1513743" indent="0">
              <a:buNone/>
              <a:defRPr sz="4635"/>
            </a:lvl2pPr>
            <a:lvl3pPr marL="3027487" indent="0">
              <a:buNone/>
              <a:defRPr sz="3973"/>
            </a:lvl3pPr>
            <a:lvl4pPr marL="4541230" indent="0">
              <a:buNone/>
              <a:defRPr sz="3311"/>
            </a:lvl4pPr>
            <a:lvl5pPr marL="6054974" indent="0">
              <a:buNone/>
              <a:defRPr sz="3311"/>
            </a:lvl5pPr>
            <a:lvl6pPr marL="7568717" indent="0">
              <a:buNone/>
              <a:defRPr sz="3311"/>
            </a:lvl6pPr>
            <a:lvl7pPr marL="9082461" indent="0">
              <a:buNone/>
              <a:defRPr sz="3311"/>
            </a:lvl7pPr>
            <a:lvl8pPr marL="10596204" indent="0">
              <a:buNone/>
              <a:defRPr sz="3311"/>
            </a:lvl8pPr>
            <a:lvl9pPr marL="12109948" indent="0">
              <a:buNone/>
              <a:defRPr sz="33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127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FF3280-B765-E1AE-6B34-5629557BEACE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688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395" imgH="394" progId="TCLayout.ActiveDocument.1">
                  <p:embed/>
                </p:oleObj>
              </mc:Choice>
              <mc:Fallback>
                <p:oleObj name="Diapositiva think-cell" r:id="rId16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FF3280-B765-E1AE-6B34-5629557BE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81421" y="2278913"/>
            <a:ext cx="26112371" cy="82734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1421" y="11394520"/>
            <a:ext cx="26112371" cy="2715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81421" y="39672756"/>
            <a:ext cx="6811923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3/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28665" y="39672756"/>
            <a:ext cx="10217884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381869" y="39672756"/>
            <a:ext cx="6811923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457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26EA6-9EE7-7B5B-8373-D98441BCC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1855CAA-04DB-47AB-ACB2-BA45FCEECE2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47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55CAA-04DB-47AB-ACB2-BA45FCEEC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0ADA13D5-0EA3-00AF-7C16-2C9E1033ACDE}"/>
              </a:ext>
            </a:extLst>
          </p:cNvPr>
          <p:cNvGrpSpPr/>
          <p:nvPr/>
        </p:nvGrpSpPr>
        <p:grpSpPr>
          <a:xfrm>
            <a:off x="111387" y="5510298"/>
            <a:ext cx="11798884" cy="958850"/>
            <a:chOff x="505318" y="5695950"/>
            <a:chExt cx="9203832" cy="95885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80553F0-67DC-B88B-4786-E04BCE7E3EA7}"/>
                </a:ext>
              </a:extLst>
            </p:cNvPr>
            <p:cNvSpPr/>
            <p:nvPr/>
          </p:nvSpPr>
          <p:spPr>
            <a:xfrm>
              <a:off x="647700" y="5695950"/>
              <a:ext cx="9061450" cy="958850"/>
            </a:xfrm>
            <a:prstGeom prst="rect">
              <a:avLst/>
            </a:prstGeom>
            <a:solidFill>
              <a:srgbClr val="374A2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CF05195-8EDA-65F9-E8E6-6FA2DAB8FCC1}"/>
                </a:ext>
              </a:extLst>
            </p:cNvPr>
            <p:cNvSpPr/>
            <p:nvPr/>
          </p:nvSpPr>
          <p:spPr>
            <a:xfrm>
              <a:off x="647700" y="5695950"/>
              <a:ext cx="179726" cy="958850"/>
            </a:xfrm>
            <a:prstGeom prst="rect">
              <a:avLst/>
            </a:prstGeom>
            <a:solidFill>
              <a:srgbClr val="667F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70913BA-59F1-4120-4E20-345FFA915BD7}"/>
                </a:ext>
              </a:extLst>
            </p:cNvPr>
            <p:cNvSpPr txBox="1"/>
            <p:nvPr/>
          </p:nvSpPr>
          <p:spPr>
            <a:xfrm>
              <a:off x="505318" y="5805269"/>
              <a:ext cx="3389019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BLEM</a:t>
              </a:r>
              <a:endParaRPr lang="bg-BG" sz="4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99C8920-936E-74CF-13D8-B637F3B45A81}"/>
              </a:ext>
            </a:extLst>
          </p:cNvPr>
          <p:cNvGrpSpPr/>
          <p:nvPr/>
        </p:nvGrpSpPr>
        <p:grpSpPr>
          <a:xfrm>
            <a:off x="12144329" y="5510298"/>
            <a:ext cx="17726072" cy="1580098"/>
            <a:chOff x="10209765" y="5571258"/>
            <a:chExt cx="20125957" cy="158009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648D725-07C4-4536-C468-5FAA2B5C4A55}"/>
                </a:ext>
              </a:extLst>
            </p:cNvPr>
            <p:cNvSpPr/>
            <p:nvPr/>
          </p:nvSpPr>
          <p:spPr>
            <a:xfrm>
              <a:off x="10235358" y="5571258"/>
              <a:ext cx="20100364" cy="958850"/>
            </a:xfrm>
            <a:prstGeom prst="rect">
              <a:avLst/>
            </a:prstGeom>
            <a:solidFill>
              <a:srgbClr val="374A2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3103061-FAFE-F42B-469E-591DDCCAC8B4}"/>
                </a:ext>
              </a:extLst>
            </p:cNvPr>
            <p:cNvSpPr/>
            <p:nvPr/>
          </p:nvSpPr>
          <p:spPr>
            <a:xfrm>
              <a:off x="10209765" y="5571258"/>
              <a:ext cx="261593" cy="958850"/>
            </a:xfrm>
            <a:prstGeom prst="rect">
              <a:avLst/>
            </a:prstGeom>
            <a:solidFill>
              <a:srgbClr val="667F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2A61BE7-60D3-8382-E638-5A584DD1A675}"/>
                </a:ext>
              </a:extLst>
            </p:cNvPr>
            <p:cNvSpPr txBox="1"/>
            <p:nvPr/>
          </p:nvSpPr>
          <p:spPr>
            <a:xfrm>
              <a:off x="10815516" y="5643251"/>
              <a:ext cx="4730750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NOVATION</a:t>
              </a:r>
            </a:p>
            <a:p>
              <a:endParaRPr lang="bg-BG" sz="4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DFE371-F410-FBFA-36C8-AA487DE02B1F}"/>
              </a:ext>
            </a:extLst>
          </p:cNvPr>
          <p:cNvGrpSpPr/>
          <p:nvPr/>
        </p:nvGrpSpPr>
        <p:grpSpPr>
          <a:xfrm>
            <a:off x="12178674" y="22696721"/>
            <a:ext cx="17704800" cy="1015230"/>
            <a:chOff x="10308423" y="5571258"/>
            <a:chExt cx="19556480" cy="872212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A35F390-E2E7-1DA9-A06C-8409EBAE9AA0}"/>
                </a:ext>
              </a:extLst>
            </p:cNvPr>
            <p:cNvSpPr/>
            <p:nvPr/>
          </p:nvSpPr>
          <p:spPr>
            <a:xfrm>
              <a:off x="10308423" y="5571258"/>
              <a:ext cx="19556480" cy="822701"/>
            </a:xfrm>
            <a:prstGeom prst="rect">
              <a:avLst/>
            </a:prstGeom>
            <a:solidFill>
              <a:srgbClr val="374A2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 dirty="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2CA0C8E-273E-F966-DD15-AE6C777543E6}"/>
                </a:ext>
              </a:extLst>
            </p:cNvPr>
            <p:cNvSpPr/>
            <p:nvPr/>
          </p:nvSpPr>
          <p:spPr>
            <a:xfrm>
              <a:off x="10308423" y="5571258"/>
              <a:ext cx="254497" cy="822701"/>
            </a:xfrm>
            <a:prstGeom prst="rect">
              <a:avLst/>
            </a:prstGeom>
            <a:solidFill>
              <a:srgbClr val="667F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0CA57FA-E050-ABD8-6B71-ADD217349766}"/>
                </a:ext>
              </a:extLst>
            </p:cNvPr>
            <p:cNvSpPr txBox="1"/>
            <p:nvPr/>
          </p:nvSpPr>
          <p:spPr>
            <a:xfrm>
              <a:off x="10815516" y="5643251"/>
              <a:ext cx="473075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endParaRPr lang="bg-BG" sz="4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2DBAA8A-A085-E0EC-6C8A-39CC050A7E8D}"/>
              </a:ext>
            </a:extLst>
          </p:cNvPr>
          <p:cNvGrpSpPr/>
          <p:nvPr/>
        </p:nvGrpSpPr>
        <p:grpSpPr>
          <a:xfrm>
            <a:off x="12267464" y="35231955"/>
            <a:ext cx="17722646" cy="1538655"/>
            <a:chOff x="10212351" y="5571258"/>
            <a:chExt cx="19307978" cy="1491589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1BA989D-044E-1D43-247B-818E2C2D3FC2}"/>
                </a:ext>
              </a:extLst>
            </p:cNvPr>
            <p:cNvSpPr/>
            <p:nvPr/>
          </p:nvSpPr>
          <p:spPr>
            <a:xfrm>
              <a:off x="10231793" y="5571258"/>
              <a:ext cx="19288536" cy="928308"/>
            </a:xfrm>
            <a:prstGeom prst="rect">
              <a:avLst/>
            </a:prstGeom>
            <a:solidFill>
              <a:srgbClr val="374A2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B1FECA8-7976-6DE7-B5BF-015C654BD68A}"/>
                </a:ext>
              </a:extLst>
            </p:cNvPr>
            <p:cNvSpPr/>
            <p:nvPr/>
          </p:nvSpPr>
          <p:spPr>
            <a:xfrm>
              <a:off x="10212351" y="5571258"/>
              <a:ext cx="251010" cy="928308"/>
            </a:xfrm>
            <a:prstGeom prst="rect">
              <a:avLst/>
            </a:prstGeom>
            <a:solidFill>
              <a:srgbClr val="667F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g-BG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8921A80-BB7F-544D-D7DD-28D5DBDE2A49}"/>
                </a:ext>
              </a:extLst>
            </p:cNvPr>
            <p:cNvSpPr txBox="1"/>
            <p:nvPr/>
          </p:nvSpPr>
          <p:spPr>
            <a:xfrm>
              <a:off x="10811103" y="5600874"/>
              <a:ext cx="17530172" cy="14619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S &amp; ACKNOWLEDGEMENTS</a:t>
              </a:r>
              <a:endParaRPr lang="bg-BG" sz="4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bg-BG" sz="4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A92AB1B-B398-7292-AA1C-334B56EC7712}"/>
              </a:ext>
            </a:extLst>
          </p:cNvPr>
          <p:cNvSpPr txBox="1"/>
          <p:nvPr/>
        </p:nvSpPr>
        <p:spPr>
          <a:xfrm>
            <a:off x="13042792" y="6950663"/>
            <a:ext cx="1644443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OMICS-CLOCK FRAMEWORK FOR TIME-RESOLVED FORENSICS</a:t>
            </a:r>
            <a:endParaRPr lang="it-IT" sz="38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70A0B6-AF27-08AB-ECF6-D2E0D4D3ED1F}"/>
              </a:ext>
            </a:extLst>
          </p:cNvPr>
          <p:cNvSpPr txBox="1"/>
          <p:nvPr/>
        </p:nvSpPr>
        <p:spPr>
          <a:xfrm>
            <a:off x="9030828" y="383613"/>
            <a:ext cx="1935532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OMICS-Clock”: Detect Age Estimation from biological fluids and bones through Epigenomics and Transcriptomics in Crime-scene investigation</a:t>
            </a:r>
            <a:endParaRPr lang="it-IT" sz="4400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bg-BG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CF85FA-3AB8-D563-5AAA-A3014BF50C08}"/>
              </a:ext>
            </a:extLst>
          </p:cNvPr>
          <p:cNvSpPr txBox="1"/>
          <p:nvPr/>
        </p:nvSpPr>
        <p:spPr>
          <a:xfrm>
            <a:off x="9030827" y="2071118"/>
            <a:ext cx="204954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derica Sellitto¹, Sarah Gino², Noemi Procopio</a:t>
            </a:r>
            <a:r>
              <a:rPr lang="it-IT" sz="360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</a:t>
            </a:r>
            <a:r>
              <a:rPr lang="it-IT" sz="36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bg-BG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5FC42EF-A86D-7F50-F0EB-38191D2DE348}"/>
              </a:ext>
            </a:extLst>
          </p:cNvPr>
          <p:cNvSpPr txBox="1"/>
          <p:nvPr/>
        </p:nvSpPr>
        <p:spPr>
          <a:xfrm>
            <a:off x="9019619" y="2317285"/>
            <a:ext cx="1865092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90170" algn="ctr">
              <a:tabLst>
                <a:tab pos="1143000" algn="l"/>
                <a:tab pos="1600200" algn="l"/>
                <a:tab pos="2057400" algn="l"/>
                <a:tab pos="2514600" algn="l"/>
                <a:tab pos="2971800" algn="l"/>
                <a:tab pos="3429000" algn="l"/>
                <a:tab pos="3886200" algn="l"/>
                <a:tab pos="4343400" algn="l"/>
                <a:tab pos="4800600" algn="l"/>
                <a:tab pos="5257800" algn="l"/>
                <a:tab pos="5715000" algn="l"/>
              </a:tabLst>
            </a:pPr>
            <a:br>
              <a:rPr lang="it-IT" sz="2000" kern="1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it-IT" sz="2000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-90170">
              <a:tabLst>
                <a:tab pos="1143000" algn="l"/>
                <a:tab pos="1600200" algn="l"/>
                <a:tab pos="2057400" algn="l"/>
                <a:tab pos="2514600" algn="l"/>
                <a:tab pos="2971800" algn="l"/>
                <a:tab pos="3429000" algn="l"/>
                <a:tab pos="3886200" algn="l"/>
                <a:tab pos="4343400" algn="l"/>
                <a:tab pos="4800600" algn="l"/>
                <a:tab pos="5257800" algn="l"/>
                <a:tab pos="5715000" algn="l"/>
              </a:tabLst>
            </a:pP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¹ CRIMEDIM - Center for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earch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Training in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aster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edicine,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umanitarian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id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Global Health, Università del Piemonte Orientale, Via Lanino, 1, 28100 Novara,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aly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Department of Health Science, University of Piemonte Orientale, via Solaroli 17, 28100 Novara,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aly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indent="-90170">
              <a:tabLst>
                <a:tab pos="1143000" algn="l"/>
                <a:tab pos="1600200" algn="l"/>
                <a:tab pos="2057400" algn="l"/>
                <a:tab pos="2514600" algn="l"/>
                <a:tab pos="2971800" algn="l"/>
                <a:tab pos="3429000" algn="l"/>
                <a:tab pos="3886200" algn="l"/>
                <a:tab pos="4343400" algn="l"/>
                <a:tab pos="4800600" algn="l"/>
                <a:tab pos="5257800" algn="l"/>
                <a:tab pos="5715000" algn="l"/>
              </a:tabLst>
            </a:pP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² Department of Health Science, University of Piemonte Orientale, via Solaroli 17, 28100 Novara,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aly</a:t>
            </a:r>
            <a:r>
              <a:rPr lang="it-IT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SSA Medicina Legale, AOU Alessandria, via Venezia 16, Alessandria, </a:t>
            </a:r>
            <a:r>
              <a:rPr lang="it-IT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aly</a:t>
            </a:r>
            <a:endParaRPr lang="it-IT" sz="2000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-90170">
              <a:tabLst>
                <a:tab pos="1143000" algn="l"/>
                <a:tab pos="1600200" algn="l"/>
                <a:tab pos="2057400" algn="l"/>
                <a:tab pos="2514600" algn="l"/>
                <a:tab pos="2971800" algn="l"/>
                <a:tab pos="3429000" algn="l"/>
                <a:tab pos="3886200" algn="l"/>
                <a:tab pos="4343400" algn="l"/>
                <a:tab pos="4800600" algn="l"/>
                <a:tab pos="5257800" algn="l"/>
                <a:tab pos="5715000" algn="l"/>
              </a:tabLst>
            </a:pPr>
            <a:r>
              <a:rPr lang="en-US" sz="2000" kern="10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en-US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chool of Law and Policing, Research Centre for Field Archaeology and Forensic Taphonomy, University of Central Lancashire, Preston PR1 2HE, United Kingdom</a:t>
            </a:r>
            <a:endParaRPr lang="it-IT" sz="2000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2147214-7878-27F5-48D8-D628D0391AC5}"/>
              </a:ext>
            </a:extLst>
          </p:cNvPr>
          <p:cNvSpPr txBox="1"/>
          <p:nvPr/>
        </p:nvSpPr>
        <p:spPr>
          <a:xfrm>
            <a:off x="875874" y="6871669"/>
            <a:ext cx="100270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YOND THE "WHO": FOCUS ON TIME</a:t>
            </a:r>
          </a:p>
        </p:txBody>
      </p:sp>
      <p:grpSp>
        <p:nvGrpSpPr>
          <p:cNvPr id="161" name="Gruppo 160">
            <a:extLst>
              <a:ext uri="{FF2B5EF4-FFF2-40B4-BE49-F238E27FC236}">
                <a16:creationId xmlns:a16="http://schemas.microsoft.com/office/drawing/2014/main" id="{4B98E59E-5D34-823A-72AA-C23EB372521C}"/>
              </a:ext>
            </a:extLst>
          </p:cNvPr>
          <p:cNvGrpSpPr/>
          <p:nvPr/>
        </p:nvGrpSpPr>
        <p:grpSpPr>
          <a:xfrm>
            <a:off x="327047" y="6719633"/>
            <a:ext cx="11542994" cy="35792166"/>
            <a:chOff x="365337" y="7428823"/>
            <a:chExt cx="11542994" cy="33879262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7ACEE9C1-6704-DE79-A478-9C6C0728BDC2}"/>
                </a:ext>
              </a:extLst>
            </p:cNvPr>
            <p:cNvSpPr/>
            <p:nvPr/>
          </p:nvSpPr>
          <p:spPr>
            <a:xfrm>
              <a:off x="365337" y="7428823"/>
              <a:ext cx="11542994" cy="33879262"/>
            </a:xfrm>
            <a:prstGeom prst="roundRect">
              <a:avLst>
                <a:gd name="adj" fmla="val 0"/>
              </a:avLst>
            </a:prstGeom>
            <a:noFill/>
            <a:ln w="127000">
              <a:solidFill>
                <a:srgbClr val="667F3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br>
                <a:rPr lang="it-IT" dirty="0">
                  <a:effectLst/>
                  <a:latin typeface="Helvetica Neue" panose="02000503000000020004" pitchFamily="2" charset="0"/>
                </a:rPr>
              </a:br>
              <a:endParaRPr lang="it-IT" dirty="0">
                <a:effectLst/>
                <a:latin typeface="Helvetica Neue" panose="02000503000000020004" pitchFamily="2" charset="0"/>
              </a:endParaRPr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E8FD4FEF-BB0C-D168-1BEC-1EBD382E7D22}"/>
                </a:ext>
              </a:extLst>
            </p:cNvPr>
            <p:cNvSpPr txBox="1"/>
            <p:nvPr/>
          </p:nvSpPr>
          <p:spPr>
            <a:xfrm>
              <a:off x="624428" y="8140281"/>
              <a:ext cx="11038113" cy="6904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it-IT" sz="3600" b="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modern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orensic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genomics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, 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TR-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based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DNA profiling 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he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gold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standard for sub-source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level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nswering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it-IT" sz="3600" i="1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who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 a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biological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race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belong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o</a:t>
              </a:r>
              <a:r>
                <a:rPr lang="it-IT" sz="3600" i="0" u="none" strike="noStrike" baseline="30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However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hi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pproach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lack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rucial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imension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it-IT" sz="3600" b="1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ime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undamental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o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ddres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1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ctivity-</a:t>
              </a:r>
              <a:r>
                <a:rPr lang="it-IT" sz="3600" b="1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level</a:t>
              </a:r>
              <a:r>
                <a:rPr lang="it-IT" sz="3600" b="1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questions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endPara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thout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oral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formation, DNA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idence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not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iably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termine </a:t>
              </a:r>
              <a:r>
                <a:rPr lang="it-IT" sz="360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n</a:t>
              </a:r>
              <a:r>
                <a:rPr lang="it-IT" sz="3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 trace </a:t>
              </a:r>
              <a:r>
                <a:rPr lang="it-IT" sz="360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s</a:t>
              </a:r>
              <a:r>
                <a:rPr lang="it-IT" sz="3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osited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iting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e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bility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inguish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rime-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ed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ological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erial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rom background or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nocently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erred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NA </a:t>
              </a:r>
              <a:r>
                <a:rPr lang="en-GB" sz="3600" dirty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en-GB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Figure 1</a:t>
              </a:r>
              <a:r>
                <a:rPr lang="en-GB" sz="36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it-IT" sz="3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endParaRPr lang="it-IT" sz="3600" dirty="0">
                <a:solidFill>
                  <a:srgbClr val="000000"/>
                </a:solidFill>
                <a:latin typeface="-webkit-standard"/>
              </a:endParaRPr>
            </a:p>
          </p:txBody>
        </p:sp>
        <p:sp>
          <p:nvSpPr>
            <p:cNvPr id="35" name="CasellaDiTesto 34">
              <a:extLst>
                <a:ext uri="{FF2B5EF4-FFF2-40B4-BE49-F238E27FC236}">
                  <a16:creationId xmlns:a16="http://schemas.microsoft.com/office/drawing/2014/main" id="{D2BBCAE3-B2E4-6700-3F65-36CB95CCE4EC}"/>
                </a:ext>
              </a:extLst>
            </p:cNvPr>
            <p:cNvSpPr txBox="1"/>
            <p:nvPr/>
          </p:nvSpPr>
          <p:spPr>
            <a:xfrm>
              <a:off x="1004640" y="38727351"/>
              <a:ext cx="10302404" cy="584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it-IT" sz="3200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7B72B414-3E82-0DAD-6D97-099A091957AE}"/>
              </a:ext>
            </a:extLst>
          </p:cNvPr>
          <p:cNvSpPr txBox="1"/>
          <p:nvPr/>
        </p:nvSpPr>
        <p:spPr>
          <a:xfrm>
            <a:off x="14502509" y="24213205"/>
            <a:ext cx="1393134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OM MOLECULAR DATA TO JUSTICE AND CLOSURE</a:t>
            </a:r>
            <a:endParaRPr lang="it-IT" sz="38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763F0EF6-2454-D964-0CAB-CAFBC7C49E36}"/>
              </a:ext>
            </a:extLst>
          </p:cNvPr>
          <p:cNvGrpSpPr/>
          <p:nvPr/>
        </p:nvGrpSpPr>
        <p:grpSpPr>
          <a:xfrm>
            <a:off x="12311699" y="36391974"/>
            <a:ext cx="17622000" cy="6203096"/>
            <a:chOff x="12615424" y="37453930"/>
            <a:chExt cx="17011297" cy="6423376"/>
          </a:xfrm>
        </p:grpSpPr>
        <p:sp>
          <p:nvSpPr>
            <p:cNvPr id="86" name="Rettangolo con angoli arrotondati 85">
              <a:extLst>
                <a:ext uri="{FF2B5EF4-FFF2-40B4-BE49-F238E27FC236}">
                  <a16:creationId xmlns:a16="http://schemas.microsoft.com/office/drawing/2014/main" id="{EB71DAC3-5078-6BFA-7E6A-A1063E828FC8}"/>
                </a:ext>
              </a:extLst>
            </p:cNvPr>
            <p:cNvSpPr/>
            <p:nvPr/>
          </p:nvSpPr>
          <p:spPr>
            <a:xfrm>
              <a:off x="12615424" y="37453930"/>
              <a:ext cx="17011297" cy="6337146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127000">
              <a:solidFill>
                <a:srgbClr val="667F3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667F3F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9A2CD99-63D6-435D-2A63-DD0DE42861C3}"/>
                </a:ext>
              </a:extLst>
            </p:cNvPr>
            <p:cNvSpPr txBox="1"/>
            <p:nvPr/>
          </p:nvSpPr>
          <p:spPr>
            <a:xfrm>
              <a:off x="13117076" y="37956545"/>
              <a:ext cx="16387393" cy="573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+mj-lt"/>
                <a:buAutoNum type="arabicPeriod"/>
              </a:pPr>
              <a:endParaRPr lang="it-IT" sz="3000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CasellaDiTesto 155">
              <a:extLst>
                <a:ext uri="{FF2B5EF4-FFF2-40B4-BE49-F238E27FC236}">
                  <a16:creationId xmlns:a16="http://schemas.microsoft.com/office/drawing/2014/main" id="{DB3356B3-808A-011A-2D44-92F71E886476}"/>
                </a:ext>
              </a:extLst>
            </p:cNvPr>
            <p:cNvSpPr txBox="1"/>
            <p:nvPr/>
          </p:nvSpPr>
          <p:spPr>
            <a:xfrm>
              <a:off x="12887827" y="41996939"/>
              <a:ext cx="16669553" cy="1880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his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manuscript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s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he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esult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f a study 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onducted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 the framework of the International PhD in Global Health,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Humanitarian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id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isaster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Medicine,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organized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by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Universita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̀ del Piemonte Orientale (UPO) </a:t>
              </a:r>
            </a:p>
            <a:p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We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cknowledge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UKRI for funding the project with a Future Leaders </a:t>
              </a:r>
              <a:r>
                <a:rPr lang="it-IT" sz="2800" dirty="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ellowship</a:t>
              </a:r>
              <a:r>
                <a:rPr lang="it-IT" sz="2800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(N.P.) MR/Y019989/1.</a:t>
              </a:r>
              <a:endParaRPr lang="it-IT" sz="28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it-IT" sz="2800" dirty="0">
                  <a:effectLst/>
                  <a:latin typeface="Calibri" panose="020F0502020204030204" pitchFamily="34" charset="0"/>
                </a:rPr>
                <a:t> </a:t>
              </a:r>
              <a:endParaRPr lang="it-IT" sz="2800" dirty="0"/>
            </a:p>
          </p:txBody>
        </p:sp>
      </p:grpSp>
      <p:sp>
        <p:nvSpPr>
          <p:cNvPr id="90" name="CasellaDiTesto 19">
            <a:extLst>
              <a:ext uri="{FF2B5EF4-FFF2-40B4-BE49-F238E27FC236}">
                <a16:creationId xmlns:a16="http://schemas.microsoft.com/office/drawing/2014/main" id="{F7D9630D-AE2C-977A-F6F6-3C40B4794960}"/>
              </a:ext>
            </a:extLst>
          </p:cNvPr>
          <p:cNvSpPr txBox="1"/>
          <p:nvPr/>
        </p:nvSpPr>
        <p:spPr>
          <a:xfrm>
            <a:off x="702961" y="18630363"/>
            <a:ext cx="11038113" cy="1505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Beyond conventional DNA profiling, </a:t>
            </a:r>
            <a:r>
              <a:rPr lang="en-GB" sz="3600" b="1" dirty="0">
                <a:latin typeface="Arial" panose="020B0604020202020204" pitchFamily="34" charset="0"/>
                <a:cs typeface="Arial" panose="020B0604020202020204" pitchFamily="34" charset="0"/>
              </a:rPr>
              <a:t>chronological age estimation</a:t>
            </a: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 of traces’ donors can provide also valuable investigative intelligence to support suspect identification when reference DNA profiles are unavailable (</a:t>
            </a:r>
            <a:r>
              <a:rPr lang="en-GB" sz="3600" b="1" dirty="0">
                <a:latin typeface="Arial" panose="020B0604020202020204" pitchFamily="34" charset="0"/>
                <a:cs typeface="Arial" panose="020B0604020202020204" pitchFamily="34" charset="0"/>
              </a:rPr>
              <a:t>Figure 2</a:t>
            </a: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cuum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fi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h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s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ing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uman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in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ularly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omposi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ul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ly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nefit from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l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ion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endParaRPr lang="it-IT" sz="3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ster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tim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VI)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elet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in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rial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ss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ve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ly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e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e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cteris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v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molecular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grad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ing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of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th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the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ological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ge 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lligence to guide investigations</a:t>
            </a:r>
            <a:r>
              <a:rPr lang="it-IT" sz="3600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3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186379D6-043C-62E3-9CA3-7867CE31D925}"/>
              </a:ext>
            </a:extLst>
          </p:cNvPr>
          <p:cNvGrpSpPr/>
          <p:nvPr/>
        </p:nvGrpSpPr>
        <p:grpSpPr>
          <a:xfrm>
            <a:off x="15156000" y="7760732"/>
            <a:ext cx="14389100" cy="2969380"/>
            <a:chOff x="15199961" y="7762844"/>
            <a:chExt cx="14389100" cy="2969380"/>
          </a:xfrm>
        </p:grpSpPr>
        <p:sp>
          <p:nvSpPr>
            <p:cNvPr id="3" name="Rettangolo con angoli arrotondati 2">
              <a:extLst>
                <a:ext uri="{FF2B5EF4-FFF2-40B4-BE49-F238E27FC236}">
                  <a16:creationId xmlns:a16="http://schemas.microsoft.com/office/drawing/2014/main" id="{6EBFCAF2-2471-592A-6757-AAD5869211DF}"/>
                </a:ext>
              </a:extLst>
            </p:cNvPr>
            <p:cNvSpPr/>
            <p:nvPr/>
          </p:nvSpPr>
          <p:spPr>
            <a:xfrm>
              <a:off x="15199961" y="7762844"/>
              <a:ext cx="14389100" cy="2520000"/>
            </a:xfrm>
            <a:prstGeom prst="roundRect">
              <a:avLst>
                <a:gd name="adj" fmla="val 0"/>
              </a:avLst>
            </a:prstGeom>
            <a:solidFill>
              <a:srgbClr val="FF9300">
                <a:alpha val="25000"/>
              </a:srgbClr>
            </a:solidFill>
            <a:ln w="57150">
              <a:solidFill>
                <a:srgbClr val="FF761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t-IT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2F12959-BE75-2CF6-0DCC-A9F7B441F504}"/>
                </a:ext>
              </a:extLst>
            </p:cNvPr>
            <p:cNvSpPr txBox="1"/>
            <p:nvPr/>
          </p:nvSpPr>
          <p:spPr>
            <a:xfrm>
              <a:off x="15304149" y="8212861"/>
              <a:ext cx="14011466" cy="2519363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lvl="0" algn="just"/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OMICS-clock»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hifts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ensic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cience from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tic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NA profiling to 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-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evant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estigation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ressing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e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oral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gap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ensics</a:t>
              </a:r>
              <a:endParaRPr lang="en-GB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1" name="CasellaDiTesto 19">
            <a:extLst>
              <a:ext uri="{FF2B5EF4-FFF2-40B4-BE49-F238E27FC236}">
                <a16:creationId xmlns:a16="http://schemas.microsoft.com/office/drawing/2014/main" id="{37CC5160-DB45-DE41-3011-A9DA4C4F6560}"/>
              </a:ext>
            </a:extLst>
          </p:cNvPr>
          <p:cNvSpPr txBox="1"/>
          <p:nvPr/>
        </p:nvSpPr>
        <p:spPr>
          <a:xfrm>
            <a:off x="568967" y="37786792"/>
            <a:ext cx="110381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resolved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p highlights a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ience: the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l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ng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l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form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or-related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logical</a:t>
            </a:r>
            <a:r>
              <a:rPr lang="it-IT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ature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ently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tions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i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mited in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nstruct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vents, estimate post-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tem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lines, support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tim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pretation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logical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lang="it-IT" sz="3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FF436AED-D8E5-F861-72E4-983421F45C13}"/>
              </a:ext>
            </a:extLst>
          </p:cNvPr>
          <p:cNvGrpSpPr/>
          <p:nvPr/>
        </p:nvGrpSpPr>
        <p:grpSpPr>
          <a:xfrm>
            <a:off x="15156000" y="10690553"/>
            <a:ext cx="14388665" cy="3097349"/>
            <a:chOff x="15137606" y="10690553"/>
            <a:chExt cx="14388665" cy="3097349"/>
          </a:xfrm>
        </p:grpSpPr>
        <p:sp>
          <p:nvSpPr>
            <p:cNvPr id="6" name="Rettangolo con angoli arrotondati 5">
              <a:extLst>
                <a:ext uri="{FF2B5EF4-FFF2-40B4-BE49-F238E27FC236}">
                  <a16:creationId xmlns:a16="http://schemas.microsoft.com/office/drawing/2014/main" id="{5769B428-BB7E-D503-C9FA-1A7765FAEC2E}"/>
                </a:ext>
              </a:extLst>
            </p:cNvPr>
            <p:cNvSpPr/>
            <p:nvPr/>
          </p:nvSpPr>
          <p:spPr>
            <a:xfrm>
              <a:off x="15137606" y="10690553"/>
              <a:ext cx="14388665" cy="2520000"/>
            </a:xfrm>
            <a:prstGeom prst="roundRect">
              <a:avLst>
                <a:gd name="adj" fmla="val 0"/>
              </a:avLst>
            </a:prstGeom>
            <a:solidFill>
              <a:srgbClr val="667F3F">
                <a:alpha val="35000"/>
              </a:srgbClr>
            </a:solidFill>
            <a:ln w="57150">
              <a:solidFill>
                <a:srgbClr val="667F3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it-IT" dirty="0"/>
            </a:p>
          </p:txBody>
        </p:sp>
        <p:sp>
          <p:nvSpPr>
            <p:cNvPr id="107" name="CasellaDiTesto 106">
              <a:extLst>
                <a:ext uri="{FF2B5EF4-FFF2-40B4-BE49-F238E27FC236}">
                  <a16:creationId xmlns:a16="http://schemas.microsoft.com/office/drawing/2014/main" id="{3C87D485-6EB2-FE6F-9262-9F1F71632700}"/>
                </a:ext>
              </a:extLst>
            </p:cNvPr>
            <p:cNvSpPr txBox="1"/>
            <p:nvPr/>
          </p:nvSpPr>
          <p:spPr>
            <a:xfrm>
              <a:off x="15326815" y="11268539"/>
              <a:ext cx="14014325" cy="2519363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lvl="0" algn="just"/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NA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gradation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&gt;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NA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ay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lecular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imer -&gt; 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nce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osition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sD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erence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n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e trace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osited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it-IT" sz="3600" baseline="30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GB" sz="36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o 35">
            <a:extLst>
              <a:ext uri="{FF2B5EF4-FFF2-40B4-BE49-F238E27FC236}">
                <a16:creationId xmlns:a16="http://schemas.microsoft.com/office/drawing/2014/main" id="{CF2F9D32-7B07-7DC0-D4BC-8B032E01B73E}"/>
              </a:ext>
            </a:extLst>
          </p:cNvPr>
          <p:cNvGrpSpPr/>
          <p:nvPr/>
        </p:nvGrpSpPr>
        <p:grpSpPr>
          <a:xfrm>
            <a:off x="15156000" y="13579597"/>
            <a:ext cx="14388664" cy="2925187"/>
            <a:chOff x="15137607" y="13677283"/>
            <a:chExt cx="14388664" cy="2925187"/>
          </a:xfrm>
        </p:grpSpPr>
        <p:sp>
          <p:nvSpPr>
            <p:cNvPr id="7" name="Rettangolo con angoli arrotondati 6">
              <a:extLst>
                <a:ext uri="{FF2B5EF4-FFF2-40B4-BE49-F238E27FC236}">
                  <a16:creationId xmlns:a16="http://schemas.microsoft.com/office/drawing/2014/main" id="{F720B47D-E4EF-A238-A9AF-157CF3FF7317}"/>
                </a:ext>
              </a:extLst>
            </p:cNvPr>
            <p:cNvSpPr/>
            <p:nvPr/>
          </p:nvSpPr>
          <p:spPr>
            <a:xfrm>
              <a:off x="15137607" y="13677283"/>
              <a:ext cx="14388664" cy="2520000"/>
            </a:xfrm>
            <a:prstGeom prst="roundRect">
              <a:avLst>
                <a:gd name="adj" fmla="val 0"/>
              </a:avLst>
            </a:prstGeom>
            <a:solidFill>
              <a:srgbClr val="9437FF">
                <a:alpha val="20000"/>
              </a:srgbClr>
            </a:solidFill>
            <a:ln w="57150">
              <a:solidFill>
                <a:srgbClr val="7030A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it-IT"/>
            </a:p>
          </p:txBody>
        </p:sp>
        <p:sp>
          <p:nvSpPr>
            <p:cNvPr id="109" name="CasellaDiTesto 108">
              <a:extLst>
                <a:ext uri="{FF2B5EF4-FFF2-40B4-BE49-F238E27FC236}">
                  <a16:creationId xmlns:a16="http://schemas.microsoft.com/office/drawing/2014/main" id="{16BCCC4F-8A9C-0B4D-3C01-AA9D12155E0C}"/>
                </a:ext>
              </a:extLst>
            </p:cNvPr>
            <p:cNvSpPr txBox="1"/>
            <p:nvPr/>
          </p:nvSpPr>
          <p:spPr>
            <a:xfrm>
              <a:off x="15301290" y="14083107"/>
              <a:ext cx="14014325" cy="2519363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lvl="0"/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rcadian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ology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&gt; 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criptomic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se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f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hythmic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ne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lvl="0"/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&gt;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imation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f 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 of day (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D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body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uid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position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iming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it-IT" sz="360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adaver</a:t>
              </a:r>
              <a:r>
                <a:rPr lang="it-IT" sz="360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b="0" i="0" u="none" strike="noStrike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ath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iming</a:t>
              </a:r>
              <a:r>
                <a:rPr lang="it-IT" sz="3600" b="0" i="0" u="none" strike="noStrike" dirty="0">
                  <a:solidFill>
                    <a:srgbClr val="000000"/>
                  </a:solidFill>
                  <a:effectLst/>
                  <a:latin typeface="-webkit-standard"/>
                </a:rPr>
                <a:t>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day/night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oral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olution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it-IT" sz="3600" baseline="30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,5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n-GB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72F0670B-63F1-D47A-6A91-81BFC4514CCF}"/>
              </a:ext>
            </a:extLst>
          </p:cNvPr>
          <p:cNvGrpSpPr/>
          <p:nvPr/>
        </p:nvGrpSpPr>
        <p:grpSpPr>
          <a:xfrm>
            <a:off x="15156000" y="19434657"/>
            <a:ext cx="14389100" cy="2816231"/>
            <a:chOff x="15137606" y="19565285"/>
            <a:chExt cx="14389100" cy="2816231"/>
          </a:xfrm>
        </p:grpSpPr>
        <p:sp>
          <p:nvSpPr>
            <p:cNvPr id="8" name="Rettangolo con angoli arrotondati 7">
              <a:extLst>
                <a:ext uri="{FF2B5EF4-FFF2-40B4-BE49-F238E27FC236}">
                  <a16:creationId xmlns:a16="http://schemas.microsoft.com/office/drawing/2014/main" id="{184447E8-3879-CB5F-C3E1-EAA9901C8C37}"/>
                </a:ext>
              </a:extLst>
            </p:cNvPr>
            <p:cNvSpPr/>
            <p:nvPr/>
          </p:nvSpPr>
          <p:spPr>
            <a:xfrm>
              <a:off x="15137606" y="19565285"/>
              <a:ext cx="14389100" cy="2520000"/>
            </a:xfrm>
            <a:prstGeom prst="roundRect">
              <a:avLst>
                <a:gd name="adj" fmla="val 0"/>
              </a:avLst>
            </a:prstGeom>
            <a:solidFill>
              <a:srgbClr val="EBB512">
                <a:alpha val="30000"/>
              </a:srgbClr>
            </a:solidFill>
            <a:ln w="57150">
              <a:solidFill>
                <a:srgbClr val="EBB51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it-IT" dirty="0"/>
            </a:p>
          </p:txBody>
        </p:sp>
        <p:sp>
          <p:nvSpPr>
            <p:cNvPr id="113" name="CasellaDiTesto 112">
              <a:extLst>
                <a:ext uri="{FF2B5EF4-FFF2-40B4-BE49-F238E27FC236}">
                  <a16:creationId xmlns:a16="http://schemas.microsoft.com/office/drawing/2014/main" id="{13BCA378-49E6-88AD-14B2-BA248747A640}"/>
                </a:ext>
              </a:extLst>
            </p:cNvPr>
            <p:cNvSpPr txBox="1"/>
            <p:nvPr/>
          </p:nvSpPr>
          <p:spPr>
            <a:xfrm>
              <a:off x="15301290" y="19862153"/>
              <a:ext cx="14039850" cy="2519363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lvl="0" algn="just"/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chine-learning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odels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ll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tegrate 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-</a:t>
              </a:r>
              <a:r>
                <a:rPr lang="it-IT" sz="36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mics</a:t>
              </a:r>
              <a:r>
                <a:rPr lang="it-IT" sz="3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ata 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ow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ime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imation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rom trace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idence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sD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D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ronological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ge) and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eletal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mains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time of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ath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it-IT" sz="36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ronological</a:t>
              </a:r>
              <a:r>
                <a:rPr lang="it-IT" sz="3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ge).</a:t>
              </a:r>
              <a:endParaRPr lang="it-IT" sz="3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3" name="Immagine 122" descr="Immagine che contiene testo, Carattere, schermata, Elementi grafici&#10;&#10;Descrizione generata automaticamente">
            <a:extLst>
              <a:ext uri="{FF2B5EF4-FFF2-40B4-BE49-F238E27FC236}">
                <a16:creationId xmlns:a16="http://schemas.microsoft.com/office/drawing/2014/main" id="{4EF42FA2-2030-F434-EABA-9B2B053F0A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6586" y="3375764"/>
            <a:ext cx="2441662" cy="1055862"/>
          </a:xfrm>
          <a:prstGeom prst="rect">
            <a:avLst/>
          </a:prstGeom>
        </p:spPr>
      </p:pic>
      <p:pic>
        <p:nvPicPr>
          <p:cNvPr id="133" name="Immagine 132" descr="Immagine che contiene logo, schermata, Elementi grafici, simbolo&#10;&#10;Descrizione generata automaticamente">
            <a:extLst>
              <a:ext uri="{FF2B5EF4-FFF2-40B4-BE49-F238E27FC236}">
                <a16:creationId xmlns:a16="http://schemas.microsoft.com/office/drawing/2014/main" id="{72FFBD33-A304-8B58-E6F8-1E8DA5E0C4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5103" y="1543878"/>
            <a:ext cx="1842255" cy="1842255"/>
          </a:xfrm>
          <a:prstGeom prst="rect">
            <a:avLst/>
          </a:prstGeom>
        </p:spPr>
      </p:pic>
      <p:pic>
        <p:nvPicPr>
          <p:cNvPr id="151" name="Immagine 150" descr="Immagine che contiene Elementi grafici, arte&#10;&#10;Descrizione generata automaticamente">
            <a:extLst>
              <a:ext uri="{FF2B5EF4-FFF2-40B4-BE49-F238E27FC236}">
                <a16:creationId xmlns:a16="http://schemas.microsoft.com/office/drawing/2014/main" id="{2D8450CD-4149-4956-E313-4A2B613AB4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896" y="13287735"/>
            <a:ext cx="5334047" cy="3707136"/>
          </a:xfrm>
          <a:prstGeom prst="rect">
            <a:avLst/>
          </a:prstGeom>
        </p:spPr>
      </p:pic>
      <p:pic>
        <p:nvPicPr>
          <p:cNvPr id="155" name="Immagine 154" descr="Immagine che contiene orologio, Orologio da parete, cerchio, orari&#10;&#10;Descrizione generata automaticamente">
            <a:extLst>
              <a:ext uri="{FF2B5EF4-FFF2-40B4-BE49-F238E27FC236}">
                <a16:creationId xmlns:a16="http://schemas.microsoft.com/office/drawing/2014/main" id="{473C9E32-0425-6F2C-B133-D6850032A2B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50" t="19017" r="24180" b="22777"/>
          <a:stretch/>
        </p:blipFill>
        <p:spPr>
          <a:xfrm>
            <a:off x="12014777" y="7580636"/>
            <a:ext cx="3477208" cy="2655631"/>
          </a:xfrm>
          <a:prstGeom prst="rect">
            <a:avLst/>
          </a:prstGeom>
        </p:spPr>
      </p:pic>
      <p:pic>
        <p:nvPicPr>
          <p:cNvPr id="158" name="Immagine 157" descr="Immagine che contiene simbolo, cerchio, logo, emblema&#10;&#10;Descrizione generata automaticamente">
            <a:extLst>
              <a:ext uri="{FF2B5EF4-FFF2-40B4-BE49-F238E27FC236}">
                <a16:creationId xmlns:a16="http://schemas.microsoft.com/office/drawing/2014/main" id="{3426FBF2-A39B-BCF7-C25F-D45D49E718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8400" y="19116837"/>
            <a:ext cx="3530319" cy="3530319"/>
          </a:xfrm>
          <a:prstGeom prst="rect">
            <a:avLst/>
          </a:prstGeom>
        </p:spPr>
      </p:pic>
      <p:pic>
        <p:nvPicPr>
          <p:cNvPr id="163" name="Immagine 162" descr="Immagine che contiene cerchio, simbolo, Elementi grafici&#10;&#10;Descrizione generata automaticamente">
            <a:extLst>
              <a:ext uri="{FF2B5EF4-FFF2-40B4-BE49-F238E27FC236}">
                <a16:creationId xmlns:a16="http://schemas.microsoft.com/office/drawing/2014/main" id="{CA32299F-4FDA-4B0F-1B17-CE20341F62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0529" y="10521962"/>
            <a:ext cx="3414062" cy="3236360"/>
          </a:xfrm>
          <a:prstGeom prst="rect">
            <a:avLst/>
          </a:prstGeom>
        </p:spPr>
      </p:pic>
      <p:sp>
        <p:nvSpPr>
          <p:cNvPr id="164" name="Rettangolo 163">
            <a:extLst>
              <a:ext uri="{FF2B5EF4-FFF2-40B4-BE49-F238E27FC236}">
                <a16:creationId xmlns:a16="http://schemas.microsoft.com/office/drawing/2014/main" id="{3DA4AB5B-3554-790A-6B04-DE3E58208CD1}"/>
              </a:ext>
            </a:extLst>
          </p:cNvPr>
          <p:cNvSpPr/>
          <p:nvPr/>
        </p:nvSpPr>
        <p:spPr>
          <a:xfrm>
            <a:off x="21265007" y="29965690"/>
            <a:ext cx="8460000" cy="4320000"/>
          </a:xfrm>
          <a:prstGeom prst="rect">
            <a:avLst/>
          </a:prstGeom>
          <a:solidFill>
            <a:srgbClr val="5B8E91">
              <a:alpha val="35000"/>
            </a:srgbClr>
          </a:solidFill>
          <a:ln w="57150">
            <a:solidFill>
              <a:srgbClr val="5B8E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t-IT" sz="3600" dirty="0">
              <a:solidFill>
                <a:srgbClr val="5B8E9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ttangolo 165">
            <a:extLst>
              <a:ext uri="{FF2B5EF4-FFF2-40B4-BE49-F238E27FC236}">
                <a16:creationId xmlns:a16="http://schemas.microsoft.com/office/drawing/2014/main" id="{D3599978-B226-9D91-98B0-FFB67249B731}"/>
              </a:ext>
            </a:extLst>
          </p:cNvPr>
          <p:cNvSpPr/>
          <p:nvPr/>
        </p:nvSpPr>
        <p:spPr>
          <a:xfrm>
            <a:off x="12454322" y="29965690"/>
            <a:ext cx="8460000" cy="4320000"/>
          </a:xfrm>
          <a:prstGeom prst="rect">
            <a:avLst/>
          </a:prstGeom>
          <a:solidFill>
            <a:srgbClr val="9437FF">
              <a:alpha val="20000"/>
            </a:srgbClr>
          </a:solidFill>
          <a:ln w="57150"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7" name="Rettangolo 166">
            <a:extLst>
              <a:ext uri="{FF2B5EF4-FFF2-40B4-BE49-F238E27FC236}">
                <a16:creationId xmlns:a16="http://schemas.microsoft.com/office/drawing/2014/main" id="{380F9004-1030-ADB9-52AE-93256B63DD42}"/>
              </a:ext>
            </a:extLst>
          </p:cNvPr>
          <p:cNvSpPr/>
          <p:nvPr/>
        </p:nvSpPr>
        <p:spPr>
          <a:xfrm>
            <a:off x="21246956" y="25316331"/>
            <a:ext cx="8460000" cy="4320000"/>
          </a:xfrm>
          <a:prstGeom prst="rect">
            <a:avLst/>
          </a:prstGeom>
          <a:solidFill>
            <a:srgbClr val="FF7614">
              <a:alpha val="25000"/>
            </a:srgbClr>
          </a:solidFill>
          <a:ln w="57150">
            <a:solidFill>
              <a:srgbClr val="FF76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8" name="Rettangolo 167">
            <a:extLst>
              <a:ext uri="{FF2B5EF4-FFF2-40B4-BE49-F238E27FC236}">
                <a16:creationId xmlns:a16="http://schemas.microsoft.com/office/drawing/2014/main" id="{57196DBD-6457-B50B-B978-CF012FA558AB}"/>
              </a:ext>
            </a:extLst>
          </p:cNvPr>
          <p:cNvSpPr/>
          <p:nvPr/>
        </p:nvSpPr>
        <p:spPr>
          <a:xfrm>
            <a:off x="12454322" y="25316331"/>
            <a:ext cx="8460000" cy="4304767"/>
          </a:xfrm>
          <a:prstGeom prst="rect">
            <a:avLst/>
          </a:prstGeom>
          <a:solidFill>
            <a:srgbClr val="667F3F">
              <a:alpha val="35000"/>
            </a:srgbClr>
          </a:solidFill>
          <a:ln w="57150">
            <a:solidFill>
              <a:srgbClr val="667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9" name="CasellaDiTesto 168">
            <a:extLst>
              <a:ext uri="{FF2B5EF4-FFF2-40B4-BE49-F238E27FC236}">
                <a16:creationId xmlns:a16="http://schemas.microsoft.com/office/drawing/2014/main" id="{078B6924-5451-0C9B-0BCE-32F23D0AFA12}"/>
              </a:ext>
            </a:extLst>
          </p:cNvPr>
          <p:cNvSpPr txBox="1"/>
          <p:nvPr/>
        </p:nvSpPr>
        <p:spPr>
          <a:xfrm>
            <a:off x="24742090" y="30410834"/>
            <a:ext cx="49755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MICS-Clock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idges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ap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dentity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time, shaping 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ocio-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gal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mpact of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mporal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ruth</a:t>
            </a:r>
            <a:r>
              <a:rPr lang="it-IT" sz="3600" b="1" i="0" u="none" strike="noStrike" baseline="30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36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CasellaDiTesto 171">
            <a:extLst>
              <a:ext uri="{FF2B5EF4-FFF2-40B4-BE49-F238E27FC236}">
                <a16:creationId xmlns:a16="http://schemas.microsoft.com/office/drawing/2014/main" id="{3BB748C4-B255-9A20-8BA8-0D2CEA6C08BB}"/>
              </a:ext>
            </a:extLst>
          </p:cNvPr>
          <p:cNvSpPr txBox="1"/>
          <p:nvPr/>
        </p:nvSpPr>
        <p:spPr>
          <a:xfrm>
            <a:off x="24742090" y="25520611"/>
            <a:ext cx="4770000" cy="39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MICS-Clock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nsforms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iological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ces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lecular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imelines,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riving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radigm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hift in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cience</a:t>
            </a:r>
            <a:r>
              <a:rPr lang="it-IT" sz="3600" b="1" i="0" u="none" strike="noStrike" baseline="30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4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CasellaDiTesto 172">
            <a:extLst>
              <a:ext uri="{FF2B5EF4-FFF2-40B4-BE49-F238E27FC236}">
                <a16:creationId xmlns:a16="http://schemas.microsoft.com/office/drawing/2014/main" id="{0F68343E-B746-2D6F-6BC5-CDC668250C3A}"/>
              </a:ext>
            </a:extLst>
          </p:cNvPr>
          <p:cNvSpPr txBox="1"/>
          <p:nvPr/>
        </p:nvSpPr>
        <p:spPr>
          <a:xfrm>
            <a:off x="15760755" y="25511747"/>
            <a:ext cx="4770000" cy="39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MICS-Clock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hances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alibi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rification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race timing and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onger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liability</a:t>
            </a:r>
            <a:r>
              <a:rPr lang="it-IT" sz="3600" b="0" i="0" u="none" strike="noStrike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,5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CasellaDiTesto 173">
            <a:extLst>
              <a:ext uri="{FF2B5EF4-FFF2-40B4-BE49-F238E27FC236}">
                <a16:creationId xmlns:a16="http://schemas.microsoft.com/office/drawing/2014/main" id="{41F192BC-C468-5883-11B3-35E15118CF7B}"/>
              </a:ext>
            </a:extLst>
          </p:cNvPr>
          <p:cNvSpPr txBox="1"/>
          <p:nvPr/>
        </p:nvSpPr>
        <p:spPr>
          <a:xfrm>
            <a:off x="15762063" y="30187109"/>
            <a:ext cx="5130000" cy="39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MICS-Clock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tores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st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nsforming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iological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swers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justice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resolved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ld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ses</a:t>
            </a:r>
            <a:r>
              <a:rPr lang="it-IT" sz="3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it-IT" sz="36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amilies </a:t>
            </a:r>
            <a:r>
              <a:rPr lang="it-IT" sz="36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eking</a:t>
            </a:r>
            <a:r>
              <a:rPr lang="it-IT" sz="36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he</a:t>
            </a:r>
            <a:r>
              <a:rPr lang="it-IT" sz="3600" b="1" i="0" u="none" strike="noStrike" dirty="0">
                <a:solidFill>
                  <a:srgbClr val="7030A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uth</a:t>
            </a:r>
            <a:r>
              <a:rPr lang="it-IT" sz="3600" b="1" i="0" u="none" strike="noStrike" baseline="30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it-IT" sz="36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0" name="Immagine 179" descr="Immagine che contiene Elementi grafici, arte, design&#10;&#10;Descrizione generata automaticamente">
            <a:extLst>
              <a:ext uri="{FF2B5EF4-FFF2-40B4-BE49-F238E27FC236}">
                <a16:creationId xmlns:a16="http://schemas.microsoft.com/office/drawing/2014/main" id="{CA0D5AB9-69F3-58DA-64A6-FCC3598CB7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44" r="22093"/>
          <a:stretch/>
        </p:blipFill>
        <p:spPr>
          <a:xfrm>
            <a:off x="12220726" y="29809236"/>
            <a:ext cx="3872630" cy="4749188"/>
          </a:xfrm>
          <a:prstGeom prst="rect">
            <a:avLst/>
          </a:prstGeom>
        </p:spPr>
      </p:pic>
      <p:sp>
        <p:nvSpPr>
          <p:cNvPr id="184" name="CasellaDiTesto 183">
            <a:extLst>
              <a:ext uri="{FF2B5EF4-FFF2-40B4-BE49-F238E27FC236}">
                <a16:creationId xmlns:a16="http://schemas.microsoft.com/office/drawing/2014/main" id="{814B447D-0A4C-D970-B7A0-F381D7DBEA75}"/>
              </a:ext>
            </a:extLst>
          </p:cNvPr>
          <p:cNvSpPr txBox="1"/>
          <p:nvPr/>
        </p:nvSpPr>
        <p:spPr>
          <a:xfrm>
            <a:off x="12593881" y="36715291"/>
            <a:ext cx="17267988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/>
            </a:pP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as C, et al. 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SI Genet. 2021;52:102486. doi:10.1016/j.fsigen.2021.102486</a:t>
            </a:r>
          </a:p>
          <a:p>
            <a:pPr algn="l">
              <a:buFont typeface="+mj-lt"/>
              <a:buAutoNum type="arabicPeriod"/>
            </a:pP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opio </a:t>
            </a:r>
            <a:r>
              <a:rPr lang="it-IT" sz="34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et al.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vel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NA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hylation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ignature for Age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stimation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rom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one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ecimens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26 (Under </a:t>
            </a:r>
            <a:r>
              <a:rPr lang="it-IT" sz="3400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vision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l">
              <a:buFont typeface="+mj-lt"/>
              <a:buAutoNum type="arabicPeriod"/>
            </a:pP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lzmann AP, et al. 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SI Genet. 2021;53:102524. doi:10.1016/j.fsigen.2021.102524</a:t>
            </a:r>
          </a:p>
          <a:p>
            <a:pPr algn="l">
              <a:buFont typeface="+mj-lt"/>
              <a:buAutoNum type="arabicPeriod"/>
            </a:pP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40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osch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, et al. 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SI Genet. 2025;78:103287. doi:10.1016/j.fsigen.2025.103287</a:t>
            </a:r>
          </a:p>
          <a:p>
            <a:pPr algn="l">
              <a:buFont typeface="+mj-lt"/>
              <a:buAutoNum type="arabicPeriod"/>
            </a:pP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ch K, et al. </a:t>
            </a:r>
            <a:r>
              <a:rPr lang="it-IT" sz="34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SI Genet. 2016;21:119-25. doi:10.1016/j.fsigen.2015.12.008</a:t>
            </a:r>
          </a:p>
        </p:txBody>
      </p:sp>
      <p:pic>
        <p:nvPicPr>
          <p:cNvPr id="11" name="Picture 10" descr="A white skull with a dna strand and a clock&#10;&#10;AI-generated content may be incorrect.">
            <a:extLst>
              <a:ext uri="{FF2B5EF4-FFF2-40B4-BE49-F238E27FC236}">
                <a16:creationId xmlns:a16="http://schemas.microsoft.com/office/drawing/2014/main" id="{AA7891A2-2085-E86F-5C1C-6A0D74F116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6625" y="256622"/>
            <a:ext cx="1339212" cy="1339212"/>
          </a:xfrm>
          <a:prstGeom prst="rect">
            <a:avLst/>
          </a:prstGeom>
        </p:spPr>
      </p:pic>
      <p:grpSp>
        <p:nvGrpSpPr>
          <p:cNvPr id="34" name="Gruppo 33">
            <a:extLst>
              <a:ext uri="{FF2B5EF4-FFF2-40B4-BE49-F238E27FC236}">
                <a16:creationId xmlns:a16="http://schemas.microsoft.com/office/drawing/2014/main" id="{6D35F6D6-5FB7-F49E-D822-081EFB557796}"/>
              </a:ext>
            </a:extLst>
          </p:cNvPr>
          <p:cNvGrpSpPr/>
          <p:nvPr/>
        </p:nvGrpSpPr>
        <p:grpSpPr>
          <a:xfrm>
            <a:off x="15156000" y="16487844"/>
            <a:ext cx="14389100" cy="3058933"/>
            <a:chOff x="15137607" y="16487844"/>
            <a:chExt cx="14389100" cy="3058933"/>
          </a:xfrm>
        </p:grpSpPr>
        <p:sp>
          <p:nvSpPr>
            <p:cNvPr id="10" name="Rettangolo con angoli arrotondati 9">
              <a:extLst>
                <a:ext uri="{FF2B5EF4-FFF2-40B4-BE49-F238E27FC236}">
                  <a16:creationId xmlns:a16="http://schemas.microsoft.com/office/drawing/2014/main" id="{B0FB75B6-D575-0535-DD21-DA17D81628CE}"/>
                </a:ext>
              </a:extLst>
            </p:cNvPr>
            <p:cNvSpPr/>
            <p:nvPr/>
          </p:nvSpPr>
          <p:spPr>
            <a:xfrm>
              <a:off x="15137607" y="16487844"/>
              <a:ext cx="14389100" cy="2520000"/>
            </a:xfrm>
            <a:prstGeom prst="roundRect">
              <a:avLst>
                <a:gd name="adj" fmla="val 0"/>
              </a:avLst>
            </a:prstGeom>
            <a:solidFill>
              <a:srgbClr val="5B8E91">
                <a:alpha val="35000"/>
              </a:srgbClr>
            </a:solidFill>
            <a:ln w="57150">
              <a:solidFill>
                <a:srgbClr val="5B8E9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it-IT"/>
            </a:p>
          </p:txBody>
        </p:sp>
        <p:sp>
          <p:nvSpPr>
            <p:cNvPr id="15" name="CasellaDiTesto 108">
              <a:extLst>
                <a:ext uri="{FF2B5EF4-FFF2-40B4-BE49-F238E27FC236}">
                  <a16:creationId xmlns:a16="http://schemas.microsoft.com/office/drawing/2014/main" id="{BA8F8332-FDA5-6D88-89AF-21E725B15BDE}"/>
                </a:ext>
              </a:extLst>
            </p:cNvPr>
            <p:cNvSpPr txBox="1"/>
            <p:nvPr/>
          </p:nvSpPr>
          <p:spPr>
            <a:xfrm>
              <a:off x="15306860" y="17027414"/>
              <a:ext cx="14034280" cy="2519363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r>
                <a:rPr lang="it-IT" sz="3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Epigenomics</a:t>
              </a:r>
              <a:r>
                <a:rPr lang="it-IT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-&gt;</a:t>
              </a:r>
              <a:r>
                <a:rPr lang="it-IT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 DNA </a:t>
              </a:r>
              <a:r>
                <a:rPr lang="it-IT" sz="36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ethylation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-&gt;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donor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age estimation</a:t>
              </a:r>
              <a:r>
                <a:rPr lang="it-IT" sz="36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2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both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for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biological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fluids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on the crime scene (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suspect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) and for human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remains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in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complex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forensic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t-IT" sz="3600" dirty="0" err="1">
                  <a:latin typeface="Arial" panose="020B0604020202020204" pitchFamily="34" charset="0"/>
                  <a:cs typeface="Arial" panose="020B0604020202020204" pitchFamily="34" charset="0"/>
                </a:rPr>
                <a:t>contexts</a:t>
              </a:r>
              <a:r>
                <a:rPr lang="it-IT" sz="3600" dirty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8D7B7-090D-39F0-21E6-3756DDAE0191}"/>
              </a:ext>
            </a:extLst>
          </p:cNvPr>
          <p:cNvSpPr/>
          <p:nvPr/>
        </p:nvSpPr>
        <p:spPr>
          <a:xfrm>
            <a:off x="673344" y="14249726"/>
            <a:ext cx="10933736" cy="4140000"/>
          </a:xfrm>
          <a:prstGeom prst="rect">
            <a:avLst/>
          </a:prstGeom>
          <a:solidFill>
            <a:srgbClr val="9437FF">
              <a:alpha val="20000"/>
            </a:srgbClr>
          </a:solidFill>
          <a:ln w="57150"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ttangolo con angoli arrotondati 17">
            <a:extLst>
              <a:ext uri="{FF2B5EF4-FFF2-40B4-BE49-F238E27FC236}">
                <a16:creationId xmlns:a16="http://schemas.microsoft.com/office/drawing/2014/main" id="{D5C5229F-A028-C561-FA07-E3BD5486DF85}"/>
              </a:ext>
            </a:extLst>
          </p:cNvPr>
          <p:cNvSpPr/>
          <p:nvPr/>
        </p:nvSpPr>
        <p:spPr>
          <a:xfrm>
            <a:off x="12270902" y="6705530"/>
            <a:ext cx="17620974" cy="15674585"/>
          </a:xfrm>
          <a:prstGeom prst="roundRect">
            <a:avLst>
              <a:gd name="adj" fmla="val 0"/>
            </a:avLst>
          </a:prstGeom>
          <a:noFill/>
          <a:ln w="127000">
            <a:solidFill>
              <a:srgbClr val="667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br>
              <a:rPr lang="it-IT" dirty="0">
                <a:effectLst/>
                <a:latin typeface="Helvetica Neue" panose="02000503000000020004" pitchFamily="2" charset="0"/>
              </a:rPr>
            </a:br>
            <a:endParaRPr lang="it-IT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303A3A-4DCF-FCFF-5476-D3CD23CCD074}"/>
              </a:ext>
            </a:extLst>
          </p:cNvPr>
          <p:cNvSpPr txBox="1"/>
          <p:nvPr/>
        </p:nvSpPr>
        <p:spPr>
          <a:xfrm>
            <a:off x="824271" y="16744827"/>
            <a:ext cx="1044448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Figure 1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. Whilst standard DNA profiling can provide personal identification, temporal information can be achieved through transcriptomics and circadian biology.</a:t>
            </a:r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ECC5EDAA-AA8C-7357-A903-00B5B60A0184}"/>
              </a:ext>
            </a:extLst>
          </p:cNvPr>
          <p:cNvSpPr/>
          <p:nvPr/>
        </p:nvSpPr>
        <p:spPr>
          <a:xfrm>
            <a:off x="673343" y="21658082"/>
            <a:ext cx="10989891" cy="4140000"/>
          </a:xfrm>
          <a:prstGeom prst="rect">
            <a:avLst/>
          </a:prstGeom>
          <a:solidFill>
            <a:srgbClr val="5B8E91">
              <a:alpha val="35000"/>
            </a:srgbClr>
          </a:solidFill>
          <a:ln w="57150">
            <a:solidFill>
              <a:srgbClr val="5B8E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extBox 12">
            <a:extLst>
              <a:ext uri="{FF2B5EF4-FFF2-40B4-BE49-F238E27FC236}">
                <a16:creationId xmlns:a16="http://schemas.microsoft.com/office/drawing/2014/main" id="{04155FD9-8FC4-2799-8232-69932F15DBC1}"/>
              </a:ext>
            </a:extLst>
          </p:cNvPr>
          <p:cNvSpPr txBox="1"/>
          <p:nvPr/>
        </p:nvSpPr>
        <p:spPr>
          <a:xfrm>
            <a:off x="824272" y="24539832"/>
            <a:ext cx="104444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Figure 2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NA-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ronological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ge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stimation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o support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vestigations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spect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dentification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C3D069EB-5999-7AC2-8F29-816C3277FB6A}"/>
              </a:ext>
            </a:extLst>
          </p:cNvPr>
          <p:cNvSpPr txBox="1"/>
          <p:nvPr/>
        </p:nvSpPr>
        <p:spPr>
          <a:xfrm>
            <a:off x="12677848" y="40048949"/>
            <a:ext cx="141010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llustrative AI-</a:t>
            </a:r>
            <a:r>
              <a:rPr lang="it-IT" sz="2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enerated</a:t>
            </a:r>
            <a:r>
              <a:rPr lang="it-IT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mages </a:t>
            </a:r>
            <a:r>
              <a:rPr lang="it-IT" sz="2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re</a:t>
            </a:r>
            <a:r>
              <a:rPr lang="it-IT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it-IT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it-IT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hatGPT/DALL·E (OpenAI).</a:t>
            </a: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A05B54EC-4D16-B10D-0443-3C1ED7F1FD6E}"/>
              </a:ext>
            </a:extLst>
          </p:cNvPr>
          <p:cNvSpPr/>
          <p:nvPr/>
        </p:nvSpPr>
        <p:spPr>
          <a:xfrm>
            <a:off x="705511" y="33512117"/>
            <a:ext cx="10971419" cy="4140000"/>
          </a:xfrm>
          <a:prstGeom prst="rect">
            <a:avLst/>
          </a:prstGeom>
          <a:solidFill>
            <a:srgbClr val="FF7614">
              <a:alpha val="25000"/>
            </a:srgbClr>
          </a:solidFill>
          <a:ln w="57150">
            <a:solidFill>
              <a:srgbClr val="FF76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7614"/>
              </a:solidFill>
            </a:endParaRPr>
          </a:p>
        </p:txBody>
      </p:sp>
      <p:pic>
        <p:nvPicPr>
          <p:cNvPr id="30" name="Immagine 29" descr="Immagine che contiene orologio, simbolo, halloween, design&#10;&#10;Descrizione generata automaticamente">
            <a:extLst>
              <a:ext uri="{FF2B5EF4-FFF2-40B4-BE49-F238E27FC236}">
                <a16:creationId xmlns:a16="http://schemas.microsoft.com/office/drawing/2014/main" id="{5B9F6FC7-B4FB-1879-5085-17332399DD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95" t="10691" r="14816" b="13792"/>
          <a:stretch/>
        </p:blipFill>
        <p:spPr>
          <a:xfrm>
            <a:off x="4312355" y="33675915"/>
            <a:ext cx="3890495" cy="294140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64503D7-522D-C2EE-D1D6-4D11DC04CF39}"/>
              </a:ext>
            </a:extLst>
          </p:cNvPr>
          <p:cNvSpPr txBox="1"/>
          <p:nvPr/>
        </p:nvSpPr>
        <p:spPr>
          <a:xfrm>
            <a:off x="875874" y="36562387"/>
            <a:ext cx="104818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3.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ensic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stimation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ronological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ge and time of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ath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graded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3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mains</a:t>
            </a:r>
            <a:r>
              <a:rPr lang="it-IT" sz="3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Immagine 28" descr="Immagine che contiene Elementi grafici, Carattere, cerchio, schermata&#10;&#10;Descrizione generata automaticamente">
            <a:extLst>
              <a:ext uri="{FF2B5EF4-FFF2-40B4-BE49-F238E27FC236}">
                <a16:creationId xmlns:a16="http://schemas.microsoft.com/office/drawing/2014/main" id="{82B56696-6FB8-86D7-0D28-25FB576246B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5497" y="15996537"/>
            <a:ext cx="3691199" cy="3691199"/>
          </a:xfrm>
          <a:prstGeom prst="rect">
            <a:avLst/>
          </a:prstGeom>
        </p:spPr>
      </p:pic>
      <p:sp>
        <p:nvSpPr>
          <p:cNvPr id="32" name="Rettangolo con angoli arrotondati 17">
            <a:extLst>
              <a:ext uri="{FF2B5EF4-FFF2-40B4-BE49-F238E27FC236}">
                <a16:creationId xmlns:a16="http://schemas.microsoft.com/office/drawing/2014/main" id="{F5C41395-6470-7C1D-C310-932E385F011E}"/>
              </a:ext>
            </a:extLst>
          </p:cNvPr>
          <p:cNvSpPr/>
          <p:nvPr/>
        </p:nvSpPr>
        <p:spPr>
          <a:xfrm>
            <a:off x="12262500" y="23907277"/>
            <a:ext cx="17620974" cy="10968417"/>
          </a:xfrm>
          <a:prstGeom prst="roundRect">
            <a:avLst>
              <a:gd name="adj" fmla="val 0"/>
            </a:avLst>
          </a:prstGeom>
          <a:noFill/>
          <a:ln w="127000">
            <a:solidFill>
              <a:srgbClr val="667F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br>
              <a:rPr lang="it-IT" dirty="0">
                <a:effectLst/>
                <a:latin typeface="Helvetica Neue" panose="02000503000000020004" pitchFamily="2" charset="0"/>
              </a:rPr>
            </a:br>
            <a:endParaRPr lang="it-IT" dirty="0">
              <a:effectLst/>
              <a:latin typeface="Helvetica Neue" panose="02000503000000020004" pitchFamily="2" charset="0"/>
            </a:endParaRPr>
          </a:p>
        </p:txBody>
      </p:sp>
      <p:pic>
        <p:nvPicPr>
          <p:cNvPr id="51" name="Immagine 50" descr="Immagine che contiene orologio, cerchio, disegno, Elementi grafici&#10;&#10;Descrizione generata automaticamente">
            <a:extLst>
              <a:ext uri="{FF2B5EF4-FFF2-40B4-BE49-F238E27FC236}">
                <a16:creationId xmlns:a16="http://schemas.microsoft.com/office/drawing/2014/main" id="{7362A2DB-5E6C-F656-53EB-C61A448B80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2664" y="24899750"/>
            <a:ext cx="3308890" cy="4963335"/>
          </a:xfrm>
          <a:prstGeom prst="rect">
            <a:avLst/>
          </a:prstGeom>
        </p:spPr>
      </p:pic>
      <p:pic>
        <p:nvPicPr>
          <p:cNvPr id="64" name="Immagine 63" descr="Immagine che contiene Elementi grafici, clipart, Carattere, simbolo&#10;&#10;Descrizione generata automaticamente">
            <a:extLst>
              <a:ext uri="{FF2B5EF4-FFF2-40B4-BE49-F238E27FC236}">
                <a16:creationId xmlns:a16="http://schemas.microsoft.com/office/drawing/2014/main" id="{6B89AC41-7FB5-DC8C-2E7A-C2938E1C445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143" y="21711785"/>
            <a:ext cx="4875476" cy="3250318"/>
          </a:xfrm>
          <a:prstGeom prst="rect">
            <a:avLst/>
          </a:prstGeom>
        </p:spPr>
      </p:pic>
      <p:pic>
        <p:nvPicPr>
          <p:cNvPr id="67" name="Immagine 66" descr="Immagine che contiene simbolo, design&#10;&#10;Descrizione generata automaticamente">
            <a:extLst>
              <a:ext uri="{FF2B5EF4-FFF2-40B4-BE49-F238E27FC236}">
                <a16:creationId xmlns:a16="http://schemas.microsoft.com/office/drawing/2014/main" id="{A1C022DC-80BE-2968-7B68-89B429A9495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2459" y="26123800"/>
            <a:ext cx="4301151" cy="2867434"/>
          </a:xfrm>
          <a:prstGeom prst="rect">
            <a:avLst/>
          </a:prstGeom>
        </p:spPr>
      </p:pic>
      <p:pic>
        <p:nvPicPr>
          <p:cNvPr id="70" name="Immagine 69" descr="Immagine che contiene simbolo, cerchio, Elementi grafici, logo&#10;&#10;Descrizione generata automaticamente">
            <a:extLst>
              <a:ext uri="{FF2B5EF4-FFF2-40B4-BE49-F238E27FC236}">
                <a16:creationId xmlns:a16="http://schemas.microsoft.com/office/drawing/2014/main" id="{558FC95B-FB3D-B775-328C-3EB6DDA75BD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3415" y="29823394"/>
            <a:ext cx="3556063" cy="5334095"/>
          </a:xfrm>
          <a:prstGeom prst="rect">
            <a:avLst/>
          </a:prstGeom>
        </p:spPr>
      </p:pic>
      <p:pic>
        <p:nvPicPr>
          <p:cNvPr id="72" name="Immagine 71" descr="Immagine che contiene cartone animato, Elementi grafici, schermata, arte&#10;&#10;Descrizione generata automaticamente">
            <a:extLst>
              <a:ext uri="{FF2B5EF4-FFF2-40B4-BE49-F238E27FC236}">
                <a16:creationId xmlns:a16="http://schemas.microsoft.com/office/drawing/2014/main" id="{7EA71004-21A4-A702-B87C-5061E15833C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649" y="13623558"/>
            <a:ext cx="6982748" cy="465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747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624cb905-2091-41e4-90b9-e768cf22851a}" enabled="0" method="" siteId="{624cb905-2091-41e4-90b9-e768cf22851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170</TotalTime>
  <Words>862</Words>
  <Application>Microsoft Macintosh PowerPoint</Application>
  <PresentationFormat>Custom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-webkit-standard</vt:lpstr>
      <vt:lpstr>Aptos</vt:lpstr>
      <vt:lpstr>Aptos Display</vt:lpstr>
      <vt:lpstr>Arial</vt:lpstr>
      <vt:lpstr>Calibri</vt:lpstr>
      <vt:lpstr>Helvetica Neue</vt:lpstr>
      <vt:lpstr>Office Theme</vt:lpstr>
      <vt:lpstr>Diapositiva think-cel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vetlin Dimitrov</dc:creator>
  <cp:lastModifiedBy>Noemi Procopio (School of Law and Policing)</cp:lastModifiedBy>
  <cp:revision>66</cp:revision>
  <dcterms:created xsi:type="dcterms:W3CDTF">2026-04-07T12:30:45Z</dcterms:created>
  <dcterms:modified xsi:type="dcterms:W3CDTF">2026-05-13T07:21:14Z</dcterms:modified>
</cp:coreProperties>
</file>